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9509EB48-F72A-4ECB-8803-23A8A0A7F0C9}">
          <p14:sldIdLst>
            <p14:sldId id="2147475173"/>
            <p14:sldId id="2147475174"/>
            <p14:sldId id="2147475175"/>
            <p14:sldId id="2147475176"/>
            <p14:sldId id="2147475177"/>
            <p14:sldId id="2147475178"/>
            <p14:sldId id="2147475179"/>
            <p14:sldId id="2147475180"/>
            <p14:sldId id="2147475181"/>
          </p14:sldIdLst>
        </p14:section>
        <p14:section name="Brackets By Sector" id="{FB58B2D1-5D79-4EE3-BEB4-1167D3A399E1}">
          <p14:sldIdLst>
            <p14:sldId id="2147475182"/>
            <p14:sldId id="2147475183"/>
            <p14:sldId id="2147475184"/>
            <p14:sldId id="2147475185"/>
            <p14:sldId id="2147475186"/>
            <p14:sldId id="2147475187"/>
            <p14:sldId id="2147475188"/>
            <p14:sldId id="2147475189"/>
            <p14:sldId id="2147475190"/>
          </p14:sldIdLst>
        </p14:section>
        <p14:section name="Brackets By Segment" id="{6CB43AC0-F864-4FD1-B464-F02973DB012C}">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2</c:v>
                </c:pt>
                <c:pt idx="2">
                  <c:v>0.12183872576169985</c:v>
                </c:pt>
                <c:pt idx="3">
                  <c:v>0.26803138806339494</c:v>
                </c:pt>
                <c:pt idx="4">
                  <c:v>0.39485900014784997</c:v>
                </c:pt>
                <c:pt idx="5">
                  <c:v>0.17344449652797625</c:v>
                </c:pt>
                <c:pt idx="6">
                  <c:v>0.000826692674453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415630760324449</c:v>
                </c:pt>
                <c:pt idx="3">
                  <c:v>0.0023115914163032367</c:v>
                </c:pt>
                <c:pt idx="4">
                  <c:v>0.009671923930063551</c:v>
                </c:pt>
                <c:pt idx="5">
                  <c:v>0.00722472021451286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9</c:v>
                </c:pt>
                <c:pt idx="3">
                  <c:v>0.24066929757465194</c:v>
                </c:pt>
                <c:pt idx="4">
                  <c:v>0.4235016609865862</c:v>
                </c:pt>
                <c:pt idx="5">
                  <c:v>0.16609207976541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7543291482773286</c:v>
                </c:pt>
                <c:pt idx="2">
                  <c:v>0.008665182825658672</c:v>
                </c:pt>
                <c:pt idx="3">
                  <c:v>0.001076612885380411</c:v>
                </c:pt>
                <c:pt idx="4">
                  <c:v>0.010776193913363263</c:v>
                </c:pt>
                <c:pt idx="5">
                  <c:v>0.00227951603229097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c:v>
                </c:pt>
                <c:pt idx="6">
                  <c:v>0.00745574143026797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98588200164566</c:v>
                </c:pt>
                <c:pt idx="1">
                  <c:v>0.03612754162937</c:v>
                </c:pt>
                <c:pt idx="2">
                  <c:v>0.13719498356475082</c:v>
                </c:pt>
                <c:pt idx="3">
                  <c:v>0.2655543928097179</c:v>
                </c:pt>
                <c:pt idx="4">
                  <c:v>0.4037194501949932</c:v>
                </c:pt>
                <c:pt idx="5">
                  <c:v>0.14488401371549256</c:v>
                </c:pt>
                <c:pt idx="6">
                  <c:v>0.00522102988551093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21746185543237</c:v>
                </c:pt>
                <c:pt idx="2">
                  <c:v>0.00854792730383827</c:v>
                </c:pt>
                <c:pt idx="3">
                  <c:v>0.0036816609117870176</c:v>
                </c:pt>
                <c:pt idx="4">
                  <c:v>0.013084418862957645</c:v>
                </c:pt>
                <c:pt idx="5">
                  <c:v>0.000797890870085974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954522696762</c:v>
                </c:pt>
                <c:pt idx="4">
                  <c:v>0.031881979303787146</c:v>
                </c:pt>
                <c:pt idx="5">
                  <c:v>0.45252068038741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5710781901685</c:v>
                </c:pt>
                <c:pt idx="1">
                  <c:v>0.038204793375372754</c:v>
                </c:pt>
                <c:pt idx="2">
                  <c:v>0.12798552630995078</c:v>
                </c:pt>
                <c:pt idx="3">
                  <c:v>0.2579764267007196</c:v>
                </c:pt>
                <c:pt idx="4">
                  <c:v>0.4116002556395987</c:v>
                </c:pt>
                <c:pt idx="5">
                  <c:v>0.15861101936594071</c:v>
                </c:pt>
                <c:pt idx="6">
                  <c:v>0.00076626782651583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277342565419012</c:v>
                </c:pt>
                <c:pt idx="4">
                  <c:v>0.010300632411353873</c:v>
                </c:pt>
                <c:pt idx="5">
                  <c:v>0.00508882052481531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690087183809</c:v>
                </c:pt>
                <c:pt idx="4">
                  <c:v>0.025018851678911807</c:v>
                </c:pt>
                <c:pt idx="5">
                  <c:v>0.47510511822666945</c:v>
                </c:pt>
                <c:pt idx="6">
                  <c:v>0.0021541255067601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871709021879724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9</c:v>
                </c:pt>
                <c:pt idx="3">
                  <c:v>0.24066929757465194</c:v>
                </c:pt>
                <c:pt idx="4">
                  <c:v>0.4235016609865862</c:v>
                </c:pt>
                <c:pt idx="5">
                  <c:v>0.16609207976541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27397924249747</c:v>
                </c:pt>
                <c:pt idx="4">
                  <c:v>0.010885058477386517</c:v>
                </c:pt>
                <c:pt idx="5">
                  <c:v>0.00650055634762468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c:v>
                </c:pt>
                <c:pt idx="6">
                  <c:v>0.00745574143026797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95188213053512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98588200164566</c:v>
                </c:pt>
                <c:pt idx="1">
                  <c:v>0.03612754162937</c:v>
                </c:pt>
                <c:pt idx="2">
                  <c:v>0.13719498356475082</c:v>
                </c:pt>
                <c:pt idx="3">
                  <c:v>0.2655543928097179</c:v>
                </c:pt>
                <c:pt idx="4">
                  <c:v>0.4037194501949932</c:v>
                </c:pt>
                <c:pt idx="5">
                  <c:v>0.14488401371549256</c:v>
                </c:pt>
                <c:pt idx="6">
                  <c:v>0.00522102988551093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017364073535775</c:v>
                </c:pt>
                <c:pt idx="4">
                  <c:v>0.014254262822939325</c:v>
                </c:pt>
                <c:pt idx="5">
                  <c:v>0.00721266804693751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954522696762</c:v>
                </c:pt>
                <c:pt idx="4">
                  <c:v>0.031881979303787146</c:v>
                </c:pt>
                <c:pt idx="5">
                  <c:v>0.45252068038741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11212500560183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5233206825432513</c:v>
                </c:pt>
                <c:pt idx="3">
                  <c:v>0.024515348950153868</c:v>
                </c:pt>
                <c:pt idx="4">
                  <c:v>0.0851797485150551</c:v>
                </c:pt>
                <c:pt idx="5">
                  <c:v>0.039611925288855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0312546756316075</c:v>
                </c:pt>
                <c:pt idx="2">
                  <c:v>0.04113727865799536</c:v>
                </c:pt>
                <c:pt idx="3">
                  <c:v>0.31354884189369275</c:v>
                </c:pt>
                <c:pt idx="4">
                  <c:v>0.5522062389315178</c:v>
                </c:pt>
                <c:pt idx="5">
                  <c:v>0.0627780934358726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4371210895374736</c:v>
                </c:pt>
                <c:pt idx="5">
                  <c:v>0.00436927492599697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51488450920449</c:v>
                </c:pt>
                <c:pt idx="1">
                  <c:v>0.007904724602008903</c:v>
                </c:pt>
                <c:pt idx="2">
                  <c:v>0.09873477683311856</c:v>
                </c:pt>
                <c:pt idx="3">
                  <c:v>0.11405517250630832</c:v>
                </c:pt>
                <c:pt idx="4">
                  <c:v>0.3832923879214365</c:v>
                </c:pt>
                <c:pt idx="5">
                  <c:v>0.39296144968620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57577861394508</c:v>
                </c:pt>
                <c:pt idx="1">
                  <c:v>0.0676553458433807</c:v>
                </c:pt>
                <c:pt idx="2">
                  <c:v>0.21547173411303427</c:v>
                </c:pt>
                <c:pt idx="3">
                  <c:v>0.4843340116357569</c:v>
                </c:pt>
                <c:pt idx="4">
                  <c:v>0.2068831228245711</c:v>
                </c:pt>
                <c:pt idx="5">
                  <c:v>0.0104982077218625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8541373589723593</c:v>
                </c:pt>
                <c:pt idx="2">
                  <c:v>0.06534813760368527</c:v>
                </c:pt>
                <c:pt idx="3">
                  <c:v>0.18279274351755131</c:v>
                </c:pt>
                <c:pt idx="4">
                  <c:v>0.5882431444878208</c:v>
                </c:pt>
                <c:pt idx="5">
                  <c:v>0.15763860412494748</c:v>
                </c:pt>
                <c:pt idx="6">
                  <c:v>0.003969095553240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1365210675183357</c:v>
                </c:pt>
                <c:pt idx="2">
                  <c:v>0.004849806229544707</c:v>
                </c:pt>
                <c:pt idx="3">
                  <c:v>0.030614134196544004</c:v>
                </c:pt>
                <c:pt idx="4">
                  <c:v>0.890216997399391</c:v>
                </c:pt>
                <c:pt idx="5">
                  <c:v>0.07281595130021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7044196561462505</c:v>
                </c:pt>
                <c:pt idx="2">
                  <c:v>0.21713769270767602</c:v>
                </c:pt>
                <c:pt idx="3">
                  <c:v>0.1276742657727075</c:v>
                </c:pt>
                <c:pt idx="4">
                  <c:v>0.26640736095684486</c:v>
                </c:pt>
                <c:pt idx="5">
                  <c:v>0.2176558469385782</c:v>
                </c:pt>
                <c:pt idx="6">
                  <c:v>0.00068194524330137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787004175139863</c:v>
                </c:pt>
                <c:pt idx="3">
                  <c:v>0.01932140439824797</c:v>
                </c:pt>
                <c:pt idx="4">
                  <c:v>0.07178276387539519</c:v>
                </c:pt>
                <c:pt idx="5">
                  <c:v>0.0528471806365719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086666246411881</c:v>
                </c:pt>
                <c:pt idx="2">
                  <c:v>0.045633021875691224</c:v>
                </c:pt>
                <c:pt idx="3">
                  <c:v>0.2606269590823887</c:v>
                </c:pt>
                <c:pt idx="4">
                  <c:v>0.5938757410843922</c:v>
                </c:pt>
                <c:pt idx="5">
                  <c:v>0.058987456109473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7720050625362799</c:v>
                </c:pt>
                <c:pt idx="5">
                  <c:v>0.006425403785250638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2354420050404</c:v>
                </c:pt>
                <c:pt idx="1">
                  <c:v>0.0018876754315294742</c:v>
                </c:pt>
                <c:pt idx="2">
                  <c:v>0.09224108918713539</c:v>
                </c:pt>
                <c:pt idx="3">
                  <c:v>0.11466792141021989</c:v>
                </c:pt>
                <c:pt idx="4">
                  <c:v>0.44252273603449555</c:v>
                </c:pt>
                <c:pt idx="5">
                  <c:v>0.344318223516569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36538655618517</c:v>
                </c:pt>
                <c:pt idx="1">
                  <c:v>0.04605500468565433</c:v>
                </c:pt>
                <c:pt idx="2">
                  <c:v>0.19655397261270163</c:v>
                </c:pt>
                <c:pt idx="3">
                  <c:v>0.4990306345942146</c:v>
                </c:pt>
                <c:pt idx="4">
                  <c:v>0.23210744618696394</c:v>
                </c:pt>
                <c:pt idx="5">
                  <c:v>0.0138875553642803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9202668363358737</c:v>
                </c:pt>
                <c:pt idx="2">
                  <c:v>0.0890529308105966</c:v>
                </c:pt>
                <c:pt idx="3">
                  <c:v>0.1461388558985822</c:v>
                </c:pt>
                <c:pt idx="4">
                  <c:v>0.5664460395056515</c:v>
                </c:pt>
                <c:pt idx="5">
                  <c:v>0.19549927143426438</c:v>
                </c:pt>
                <c:pt idx="6">
                  <c:v>0.00081053550458520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3</c:v>
                </c:pt>
                <c:pt idx="5">
                  <c:v>0.16506452973884406</c:v>
                </c:pt>
                <c:pt idx="6">
                  <c:v>0.004882096887613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976686502865877</c:v>
                </c:pt>
                <c:pt idx="1">
                  <c:v>0.0014491880932194251</c:v>
                </c:pt>
                <c:pt idx="2">
                  <c:v>0.004457696094131803</c:v>
                </c:pt>
                <c:pt idx="3">
                  <c:v>0.030277145264557645</c:v>
                </c:pt>
                <c:pt idx="4">
                  <c:v>0.8383955071465904</c:v>
                </c:pt>
                <c:pt idx="5">
                  <c:v>0.12472279475121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902539055901118</c:v>
                </c:pt>
                <c:pt idx="2">
                  <c:v>0.19501182742892956</c:v>
                </c:pt>
                <c:pt idx="3">
                  <c:v>0.19221661010637114</c:v>
                </c:pt>
                <c:pt idx="4">
                  <c:v>0.330662738462675</c:v>
                </c:pt>
                <c:pt idx="5">
                  <c:v>0.182706481481457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526041463350669</c:v>
                </c:pt>
                <c:pt idx="3">
                  <c:v>0.033856581368870375</c:v>
                </c:pt>
                <c:pt idx="4">
                  <c:v>0.08502524402054405</c:v>
                </c:pt>
                <c:pt idx="5">
                  <c:v>0.043739947302331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4730354873988523</c:v>
                </c:pt>
                <c:pt idx="2">
                  <c:v>0.06817263886703966</c:v>
                </c:pt>
                <c:pt idx="3">
                  <c:v>0.3091614458399919</c:v>
                </c:pt>
                <c:pt idx="4">
                  <c:v>0.5489472030872572</c:v>
                </c:pt>
                <c:pt idx="5">
                  <c:v>0.058881162071140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518013580659397</c:v>
                </c:pt>
                <c:pt idx="3">
                  <c:v>0.004195062034680129</c:v>
                </c:pt>
                <c:pt idx="4">
                  <c:v>0.011005025621720703</c:v>
                </c:pt>
                <c:pt idx="5">
                  <c:v>0.0062554916378939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0402933460139136</c:v>
                </c:pt>
                <c:pt idx="5">
                  <c:v>0.00540874552717645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588329459832054</c:v>
                </c:pt>
                <c:pt idx="1">
                  <c:v>0.0007825140203652709</c:v>
                </c:pt>
                <c:pt idx="2">
                  <c:v>0.08947572521744833</c:v>
                </c:pt>
                <c:pt idx="3">
                  <c:v>0.11610180874499837</c:v>
                </c:pt>
                <c:pt idx="4">
                  <c:v>0.3950069654767989</c:v>
                </c:pt>
                <c:pt idx="5">
                  <c:v>0.3975741535944058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5205229389434692</c:v>
                </c:pt>
                <c:pt idx="1">
                  <c:v>0.07085400516439393</c:v>
                </c:pt>
                <c:pt idx="2">
                  <c:v>0.22945432953046957</c:v>
                </c:pt>
                <c:pt idx="3">
                  <c:v>0.4633933380993725</c:v>
                </c:pt>
                <c:pt idx="4">
                  <c:v>0.1964228619147909</c:v>
                </c:pt>
                <c:pt idx="5">
                  <c:v>0.01467023590153841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284521370912834</c:v>
                </c:pt>
                <c:pt idx="2">
                  <c:v>0.09721766815684785</c:v>
                </c:pt>
                <c:pt idx="3">
                  <c:v>0.1911152194331892</c:v>
                </c:pt>
                <c:pt idx="4">
                  <c:v>0.5708096019417275</c:v>
                </c:pt>
                <c:pt idx="5">
                  <c:v>0.10755092846468892</c:v>
                </c:pt>
                <c:pt idx="6">
                  <c:v>0.030022060632633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3253304601556915</c:v>
                </c:pt>
                <c:pt idx="4">
                  <c:v>0.862817425129608</c:v>
                </c:pt>
                <c:pt idx="5">
                  <c:v>0.093366044849054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318942391174119</c:v>
                </c:pt>
                <c:pt idx="2">
                  <c:v>0.055137933884248834</c:v>
                </c:pt>
                <c:pt idx="3">
                  <c:v>0.03473668652662813</c:v>
                </c:pt>
                <c:pt idx="4">
                  <c:v>0.06767013652507513</c:v>
                </c:pt>
                <c:pt idx="5">
                  <c:v>0.0134782884252529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0312546756316075</c:v>
                </c:pt>
                <c:pt idx="2">
                  <c:v>0.04113727865799536</c:v>
                </c:pt>
                <c:pt idx="3">
                  <c:v>0.31354884189369275</c:v>
                </c:pt>
                <c:pt idx="4">
                  <c:v>0.5522062389315178</c:v>
                </c:pt>
                <c:pt idx="5">
                  <c:v>0.0627780934358726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51488450920449</c:v>
                </c:pt>
                <c:pt idx="1">
                  <c:v>0.007904724602008903</c:v>
                </c:pt>
                <c:pt idx="2">
                  <c:v>0.09873477683311856</c:v>
                </c:pt>
                <c:pt idx="3">
                  <c:v>0.11405517250630832</c:v>
                </c:pt>
                <c:pt idx="4">
                  <c:v>0.3832923879214365</c:v>
                </c:pt>
                <c:pt idx="5">
                  <c:v>0.39296144968620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57577861394508</c:v>
                </c:pt>
                <c:pt idx="1">
                  <c:v>0.0676553458433807</c:v>
                </c:pt>
                <c:pt idx="2">
                  <c:v>0.21547173411303427</c:v>
                </c:pt>
                <c:pt idx="3">
                  <c:v>0.4843340116357569</c:v>
                </c:pt>
                <c:pt idx="4">
                  <c:v>0.2068831228245711</c:v>
                </c:pt>
                <c:pt idx="5">
                  <c:v>0.0104982077218625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076137648858728</c:v>
                </c:pt>
                <c:pt idx="3">
                  <c:v>0.0028464121465069</c:v>
                </c:pt>
                <c:pt idx="4">
                  <c:v>0.010516466768505726</c:v>
                </c:pt>
                <c:pt idx="5">
                  <c:v>0.0052254302108340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8541373589723593</c:v>
                </c:pt>
                <c:pt idx="2">
                  <c:v>0.06534813760368527</c:v>
                </c:pt>
                <c:pt idx="3">
                  <c:v>0.18279274351755131</c:v>
                </c:pt>
                <c:pt idx="4">
                  <c:v>0.5882431444878208</c:v>
                </c:pt>
                <c:pt idx="5">
                  <c:v>0.15763860412494748</c:v>
                </c:pt>
                <c:pt idx="6">
                  <c:v>0.003969095553240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1365210675183357</c:v>
                </c:pt>
                <c:pt idx="2">
                  <c:v>0.004849806229544707</c:v>
                </c:pt>
                <c:pt idx="3">
                  <c:v>0.030614134196544004</c:v>
                </c:pt>
                <c:pt idx="4">
                  <c:v>0.890216997399391</c:v>
                </c:pt>
                <c:pt idx="5">
                  <c:v>0.07281595130021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7044196561462505</c:v>
                </c:pt>
                <c:pt idx="2">
                  <c:v>0.21713769270767602</c:v>
                </c:pt>
                <c:pt idx="3">
                  <c:v>0.1276742657727075</c:v>
                </c:pt>
                <c:pt idx="4">
                  <c:v>0.26640736095684486</c:v>
                </c:pt>
                <c:pt idx="5">
                  <c:v>0.2176558469385782</c:v>
                </c:pt>
                <c:pt idx="6">
                  <c:v>0.00068194524330137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3883172631490734</c:v>
                </c:pt>
                <c:pt idx="2">
                  <c:v>0.0685733513406976</c:v>
                </c:pt>
                <c:pt idx="3">
                  <c:v>0.008519953373459404</c:v>
                </c:pt>
                <c:pt idx="4">
                  <c:v>0.08527918524100789</c:v>
                </c:pt>
                <c:pt idx="5">
                  <c:v>0.018039325530002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086666246411881</c:v>
                </c:pt>
                <c:pt idx="2">
                  <c:v>0.045633021875691224</c:v>
                </c:pt>
                <c:pt idx="3">
                  <c:v>0.2606269590823887</c:v>
                </c:pt>
                <c:pt idx="4">
                  <c:v>0.5938757410843922</c:v>
                </c:pt>
                <c:pt idx="5">
                  <c:v>0.058987456109473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2354420050404</c:v>
                </c:pt>
                <c:pt idx="1">
                  <c:v>0.0018876754315294742</c:v>
                </c:pt>
                <c:pt idx="2">
                  <c:v>0.09224108918713539</c:v>
                </c:pt>
                <c:pt idx="3">
                  <c:v>0.11466792141021989</c:v>
                </c:pt>
                <c:pt idx="4">
                  <c:v>0.44252273603449555</c:v>
                </c:pt>
                <c:pt idx="5">
                  <c:v>0.344318223516569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36538655618517</c:v>
                </c:pt>
                <c:pt idx="1">
                  <c:v>0.04605500468565433</c:v>
                </c:pt>
                <c:pt idx="2">
                  <c:v>0.19655397261270163</c:v>
                </c:pt>
                <c:pt idx="3">
                  <c:v>0.4990306345942146</c:v>
                </c:pt>
                <c:pt idx="4">
                  <c:v>0.23210744618696394</c:v>
                </c:pt>
                <c:pt idx="5">
                  <c:v>0.0138875553642803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9202668363358737</c:v>
                </c:pt>
                <c:pt idx="2">
                  <c:v>0.0890529308105966</c:v>
                </c:pt>
                <c:pt idx="3">
                  <c:v>0.1461388558985822</c:v>
                </c:pt>
                <c:pt idx="4">
                  <c:v>0.5664460395056515</c:v>
                </c:pt>
                <c:pt idx="5">
                  <c:v>0.19549927143426438</c:v>
                </c:pt>
                <c:pt idx="6">
                  <c:v>0.00081053550458520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976686502865877</c:v>
                </c:pt>
                <c:pt idx="1">
                  <c:v>0.0014491880932194251</c:v>
                </c:pt>
                <c:pt idx="2">
                  <c:v>0.004457696094131803</c:v>
                </c:pt>
                <c:pt idx="3">
                  <c:v>0.030277145264557645</c:v>
                </c:pt>
                <c:pt idx="4">
                  <c:v>0.8383955071465904</c:v>
                </c:pt>
                <c:pt idx="5">
                  <c:v>0.12472279475121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902539055901118</c:v>
                </c:pt>
                <c:pt idx="2">
                  <c:v>0.19501182742892956</c:v>
                </c:pt>
                <c:pt idx="3">
                  <c:v>0.19221661010637114</c:v>
                </c:pt>
                <c:pt idx="4">
                  <c:v>0.330662738462675</c:v>
                </c:pt>
                <c:pt idx="5">
                  <c:v>0.182706481481457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902539055901118</c:v>
                </c:pt>
                <c:pt idx="2">
                  <c:v>0.06450832288352</c:v>
                </c:pt>
                <c:pt idx="3">
                  <c:v>0.0277842525331899</c:v>
                </c:pt>
                <c:pt idx="4">
                  <c:v>0.09874369385147747</c:v>
                </c:pt>
                <c:pt idx="5">
                  <c:v>0.00602141315008691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4730354873988523</c:v>
                </c:pt>
                <c:pt idx="2">
                  <c:v>0.06817263886703966</c:v>
                </c:pt>
                <c:pt idx="3">
                  <c:v>0.3091614458399919</c:v>
                </c:pt>
                <c:pt idx="4">
                  <c:v>0.5489472030872572</c:v>
                </c:pt>
                <c:pt idx="5">
                  <c:v>0.058881162071140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588329459832054</c:v>
                </c:pt>
                <c:pt idx="1">
                  <c:v>0.0007825140203652709</c:v>
                </c:pt>
                <c:pt idx="2">
                  <c:v>0.08947572521744833</c:v>
                </c:pt>
                <c:pt idx="3">
                  <c:v>0.11610180874499837</c:v>
                </c:pt>
                <c:pt idx="4">
                  <c:v>0.3950069654767989</c:v>
                </c:pt>
                <c:pt idx="5">
                  <c:v>0.3975741535944058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5205229389434692</c:v>
                </c:pt>
                <c:pt idx="1">
                  <c:v>0.07085400516439393</c:v>
                </c:pt>
                <c:pt idx="2">
                  <c:v>0.22945432953046957</c:v>
                </c:pt>
                <c:pt idx="3">
                  <c:v>0.4633933380993725</c:v>
                </c:pt>
                <c:pt idx="4">
                  <c:v>0.1964228619147909</c:v>
                </c:pt>
                <c:pt idx="5">
                  <c:v>0.01467023590153841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284521370912834</c:v>
                </c:pt>
                <c:pt idx="2">
                  <c:v>0.09721766815684785</c:v>
                </c:pt>
                <c:pt idx="3">
                  <c:v>0.1911152194331892</c:v>
                </c:pt>
                <c:pt idx="4">
                  <c:v>0.5708096019417275</c:v>
                </c:pt>
                <c:pt idx="5">
                  <c:v>0.10755092846468892</c:v>
                </c:pt>
                <c:pt idx="6">
                  <c:v>0.030022060632633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3253304601556915</c:v>
                </c:pt>
                <c:pt idx="4">
                  <c:v>0.862817425129608</c:v>
                </c:pt>
                <c:pt idx="5">
                  <c:v>0.093366044849054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0312546756316075</c:v>
                </c:pt>
                <c:pt idx="2">
                  <c:v>0.04113727865799536</c:v>
                </c:pt>
                <c:pt idx="3">
                  <c:v>0.31354884189369275</c:v>
                </c:pt>
                <c:pt idx="4">
                  <c:v>0.5522062389315178</c:v>
                </c:pt>
                <c:pt idx="5">
                  <c:v>0.0627780934358726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0110324760778144</c:v>
                </c:pt>
                <c:pt idx="4">
                  <c:v>0.06841718773242574</c:v>
                </c:pt>
                <c:pt idx="5">
                  <c:v>0.01604095453152696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51488450920449</c:v>
                </c:pt>
                <c:pt idx="1">
                  <c:v>0.007904724602008903</c:v>
                </c:pt>
                <c:pt idx="2">
                  <c:v>0.09873477683311856</c:v>
                </c:pt>
                <c:pt idx="3">
                  <c:v>0.11405517250630832</c:v>
                </c:pt>
                <c:pt idx="4">
                  <c:v>0.3832923879214365</c:v>
                </c:pt>
                <c:pt idx="5">
                  <c:v>0.39296144968620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12043020974010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57577861394508</c:v>
                </c:pt>
                <c:pt idx="1">
                  <c:v>0.0676553458433807</c:v>
                </c:pt>
                <c:pt idx="2">
                  <c:v>0.21547173411303427</c:v>
                </c:pt>
                <c:pt idx="3">
                  <c:v>0.4843340116357569</c:v>
                </c:pt>
                <c:pt idx="4">
                  <c:v>0.2068831228245711</c:v>
                </c:pt>
                <c:pt idx="5">
                  <c:v>0.0104982077218625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8541373589723593</c:v>
                </c:pt>
                <c:pt idx="2">
                  <c:v>0.06534813760368527</c:v>
                </c:pt>
                <c:pt idx="3">
                  <c:v>0.18279274351755131</c:v>
                </c:pt>
                <c:pt idx="4">
                  <c:v>0.5882431444878208</c:v>
                </c:pt>
                <c:pt idx="5">
                  <c:v>0.15763860412494748</c:v>
                </c:pt>
                <c:pt idx="6">
                  <c:v>0.003969095553240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2</c:v>
                </c:pt>
                <c:pt idx="2">
                  <c:v>0.12183872576169985</c:v>
                </c:pt>
                <c:pt idx="3">
                  <c:v>0.26803138806339494</c:v>
                </c:pt>
                <c:pt idx="4">
                  <c:v>0.39485900014784997</c:v>
                </c:pt>
                <c:pt idx="5">
                  <c:v>0.17344449652797625</c:v>
                </c:pt>
                <c:pt idx="6">
                  <c:v>0.000826692674453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1365210675183357</c:v>
                </c:pt>
                <c:pt idx="2">
                  <c:v>0.004849806229544707</c:v>
                </c:pt>
                <c:pt idx="3">
                  <c:v>0.030614134196544004</c:v>
                </c:pt>
                <c:pt idx="4">
                  <c:v>0.890216997399391</c:v>
                </c:pt>
                <c:pt idx="5">
                  <c:v>0.07281595130021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7044196561462505</c:v>
                </c:pt>
                <c:pt idx="2">
                  <c:v>0.21713769270767602</c:v>
                </c:pt>
                <c:pt idx="3">
                  <c:v>0.1276742657727075</c:v>
                </c:pt>
                <c:pt idx="4">
                  <c:v>0.26640736095684486</c:v>
                </c:pt>
                <c:pt idx="5">
                  <c:v>0.2176558469385782</c:v>
                </c:pt>
                <c:pt idx="6">
                  <c:v>0.00068194524330137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086666246411881</c:v>
                </c:pt>
                <c:pt idx="2">
                  <c:v>0.045633021875691224</c:v>
                </c:pt>
                <c:pt idx="3">
                  <c:v>0.2606269590823887</c:v>
                </c:pt>
                <c:pt idx="4">
                  <c:v>0.5938757410843922</c:v>
                </c:pt>
                <c:pt idx="5">
                  <c:v>0.058987456109473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81997685155103</c:v>
                </c:pt>
                <c:pt idx="2">
                  <c:v>0.0064019192653766085</c:v>
                </c:pt>
                <c:pt idx="3">
                  <c:v>0.004033184543276768</c:v>
                </c:pt>
                <c:pt idx="4">
                  <c:v>0.007857000075846162</c:v>
                </c:pt>
                <c:pt idx="5">
                  <c:v>0.001564928321671820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0414795047385217</c:v>
                </c:pt>
                <c:pt idx="4">
                  <c:v>0.07340172764031956</c:v>
                </c:pt>
                <c:pt idx="5">
                  <c:v>0.01527106411326292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2354420050404</c:v>
                </c:pt>
                <c:pt idx="1">
                  <c:v>0.0018876754315294742</c:v>
                </c:pt>
                <c:pt idx="2">
                  <c:v>0.09224108918713539</c:v>
                </c:pt>
                <c:pt idx="3">
                  <c:v>0.11466792141021989</c:v>
                </c:pt>
                <c:pt idx="4">
                  <c:v>0.44252273603449555</c:v>
                </c:pt>
                <c:pt idx="5">
                  <c:v>0.344318223516569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67055189224631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36538655618517</c:v>
                </c:pt>
                <c:pt idx="1">
                  <c:v>0.04605500468565433</c:v>
                </c:pt>
                <c:pt idx="2">
                  <c:v>0.19655397261270163</c:v>
                </c:pt>
                <c:pt idx="3">
                  <c:v>0.4990306345942146</c:v>
                </c:pt>
                <c:pt idx="4">
                  <c:v>0.23210744618696394</c:v>
                </c:pt>
                <c:pt idx="5">
                  <c:v>0.0138875553642803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9202668363358737</c:v>
                </c:pt>
                <c:pt idx="2">
                  <c:v>0.0890529308105966</c:v>
                </c:pt>
                <c:pt idx="3">
                  <c:v>0.1461388558985822</c:v>
                </c:pt>
                <c:pt idx="4">
                  <c:v>0.5664460395056515</c:v>
                </c:pt>
                <c:pt idx="5">
                  <c:v>0.19549927143426438</c:v>
                </c:pt>
                <c:pt idx="6">
                  <c:v>0.00081053550458520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976686502865877</c:v>
                </c:pt>
                <c:pt idx="1">
                  <c:v>0.0014491880932194251</c:v>
                </c:pt>
                <c:pt idx="2">
                  <c:v>0.004457696094131803</c:v>
                </c:pt>
                <c:pt idx="3">
                  <c:v>0.030277145264557645</c:v>
                </c:pt>
                <c:pt idx="4">
                  <c:v>0.8383955071465904</c:v>
                </c:pt>
                <c:pt idx="5">
                  <c:v>0.12472279475121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902539055901118</c:v>
                </c:pt>
                <c:pt idx="2">
                  <c:v>0.19501182742892956</c:v>
                </c:pt>
                <c:pt idx="3">
                  <c:v>0.19221661010637114</c:v>
                </c:pt>
                <c:pt idx="4">
                  <c:v>0.330662738462675</c:v>
                </c:pt>
                <c:pt idx="5">
                  <c:v>0.182706481481457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4730354873988523</c:v>
                </c:pt>
                <c:pt idx="2">
                  <c:v>0.06817263886703966</c:v>
                </c:pt>
                <c:pt idx="3">
                  <c:v>0.3091614458399919</c:v>
                </c:pt>
                <c:pt idx="4">
                  <c:v>0.5489472030872572</c:v>
                </c:pt>
                <c:pt idx="5">
                  <c:v>0.058881162071140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6411951396942636</c:v>
                </c:pt>
                <c:pt idx="4">
                  <c:v>0.08625463222190179</c:v>
                </c:pt>
                <c:pt idx="5">
                  <c:v>0.02476004233039275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588329459832054</c:v>
                </c:pt>
                <c:pt idx="1">
                  <c:v>0.0007825140203652709</c:v>
                </c:pt>
                <c:pt idx="2">
                  <c:v>0.08947572521744833</c:v>
                </c:pt>
                <c:pt idx="3">
                  <c:v>0.11610180874499837</c:v>
                </c:pt>
                <c:pt idx="4">
                  <c:v>0.3950069654767989</c:v>
                </c:pt>
                <c:pt idx="5">
                  <c:v>0.3975741535944058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461470956453709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5205229389434692</c:v>
                </c:pt>
                <c:pt idx="1">
                  <c:v>0.07085400516439393</c:v>
                </c:pt>
                <c:pt idx="2">
                  <c:v>0.22945432953046957</c:v>
                </c:pt>
                <c:pt idx="3">
                  <c:v>0.4633933380993725</c:v>
                </c:pt>
                <c:pt idx="4">
                  <c:v>0.1964228619147909</c:v>
                </c:pt>
                <c:pt idx="5">
                  <c:v>0.01467023590153841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284521370912834</c:v>
                </c:pt>
                <c:pt idx="2">
                  <c:v>0.09721766815684785</c:v>
                </c:pt>
                <c:pt idx="3">
                  <c:v>0.1911152194331892</c:v>
                </c:pt>
                <c:pt idx="4">
                  <c:v>0.5708096019417275</c:v>
                </c:pt>
                <c:pt idx="5">
                  <c:v>0.10755092846468892</c:v>
                </c:pt>
                <c:pt idx="6">
                  <c:v>0.030022060632633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3253304601556915</c:v>
                </c:pt>
                <c:pt idx="4">
                  <c:v>0.862817425129608</c:v>
                </c:pt>
                <c:pt idx="5">
                  <c:v>0.093366044849054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8</c:v>
                </c:pt>
                <c:pt idx="2">
                  <c:v>0.11804545324376452</c:v>
                </c:pt>
                <c:pt idx="3">
                  <c:v>0.25149827422127424</c:v>
                </c:pt>
                <c:pt idx="4">
                  <c:v>0.4056119547908504</c:v>
                </c:pt>
                <c:pt idx="5">
                  <c:v>0.18182419182032922</c:v>
                </c:pt>
                <c:pt idx="6">
                  <c:v>0.00057910659475856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660967392666346</c:v>
                </c:pt>
                <c:pt idx="2">
                  <c:v>0.00820403978298163</c:v>
                </c:pt>
                <c:pt idx="3">
                  <c:v>0.0010193177824681543</c:v>
                </c:pt>
                <c:pt idx="4">
                  <c:v>0.01020270724266415</c:v>
                </c:pt>
                <c:pt idx="5">
                  <c:v>0.00215820492090287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3</c:v>
                </c:pt>
                <c:pt idx="5">
                  <c:v>0.16506452973884406</c:v>
                </c:pt>
                <c:pt idx="6">
                  <c:v>0.004882096887613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2269923294306317</c:v>
                </c:pt>
                <c:pt idx="2">
                  <c:v>0.007993022488040152</c:v>
                </c:pt>
                <c:pt idx="3">
                  <c:v>0.0034426589528947196</c:v>
                </c:pt>
                <c:pt idx="4">
                  <c:v>0.01223501914523722</c:v>
                </c:pt>
                <c:pt idx="5">
                  <c:v>0.000746094280040894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2</c:v>
                </c:pt>
                <c:pt idx="2">
                  <c:v>0.12183872576169985</c:v>
                </c:pt>
                <c:pt idx="3">
                  <c:v>0.26803138806339494</c:v>
                </c:pt>
                <c:pt idx="4">
                  <c:v>0.39485900014784997</c:v>
                </c:pt>
                <c:pt idx="5">
                  <c:v>0.17344449652797625</c:v>
                </c:pt>
                <c:pt idx="6">
                  <c:v>0.000826692674453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82166374765753</c:v>
                </c:pt>
                <c:pt idx="4">
                  <c:v>0.009817937528781094</c:v>
                </c:pt>
                <c:pt idx="5">
                  <c:v>0.0088228869934453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8</c:v>
                </c:pt>
                <c:pt idx="2">
                  <c:v>0.11804545324376452</c:v>
                </c:pt>
                <c:pt idx="3">
                  <c:v>0.25149827422127424</c:v>
                </c:pt>
                <c:pt idx="4">
                  <c:v>0.4056119547908504</c:v>
                </c:pt>
                <c:pt idx="5">
                  <c:v>0.18182419182032922</c:v>
                </c:pt>
                <c:pt idx="6">
                  <c:v>0.00057910659475856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66286091035014</c:v>
                </c:pt>
                <c:pt idx="4">
                  <c:v>0.010365959370372987</c:v>
                </c:pt>
                <c:pt idx="5">
                  <c:v>0.01085469456521121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3</c:v>
                </c:pt>
                <c:pt idx="5">
                  <c:v>0.16506452973884406</c:v>
                </c:pt>
                <c:pt idx="6">
                  <c:v>0.004882096887613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626735540544363</c:v>
                </c:pt>
                <c:pt idx="4">
                  <c:v>0.013328920479123485</c:v>
                </c:pt>
                <c:pt idx="5">
                  <c:v>0.0136987066891367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5710781901685</c:v>
                </c:pt>
                <c:pt idx="1">
                  <c:v>0.038204793375372754</c:v>
                </c:pt>
                <c:pt idx="2">
                  <c:v>0.12798552630995078</c:v>
                </c:pt>
                <c:pt idx="3">
                  <c:v>0.2579764267007196</c:v>
                </c:pt>
                <c:pt idx="4">
                  <c:v>0.4116002556395987</c:v>
                </c:pt>
                <c:pt idx="5">
                  <c:v>0.15861101936594071</c:v>
                </c:pt>
                <c:pt idx="6">
                  <c:v>0.00076626782651583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383021559055119</c:v>
                </c:pt>
                <c:pt idx="3">
                  <c:v>0.002990174210507312</c:v>
                </c:pt>
                <c:pt idx="4">
                  <c:v>0.011047615769709744</c:v>
                </c:pt>
                <c:pt idx="5">
                  <c:v>0.00548934794085132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690087183809</c:v>
                </c:pt>
                <c:pt idx="4">
                  <c:v>0.025018851678911807</c:v>
                </c:pt>
                <c:pt idx="5">
                  <c:v>0.47510511822666945</c:v>
                </c:pt>
                <c:pt idx="6">
                  <c:v>0.0021541255067601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4</c:v>
                </c:pt>
                <c:pt idx="1">
                  <c:v>0.040453124052177075</c:v>
                </c:pt>
                <c:pt idx="2">
                  <c:v>0.12468065232928349</c:v>
                </c:pt>
                <c:pt idx="3">
                  <c:v>0.24066929757465194</c:v>
                </c:pt>
                <c:pt idx="4">
                  <c:v>0.4235016609865862</c:v>
                </c:pt>
                <c:pt idx="5">
                  <c:v>0.16609207976541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944876440793532</c:v>
                </c:pt>
                <c:pt idx="3">
                  <c:v>0.002441524269792252</c:v>
                </c:pt>
                <c:pt idx="4">
                  <c:v>0.010215575661117129</c:v>
                </c:pt>
                <c:pt idx="5">
                  <c:v>0.007630816424470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c:v>
                </c:pt>
                <c:pt idx="6">
                  <c:v>0.00745574143026797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98588200164566</c:v>
                </c:pt>
                <c:pt idx="1">
                  <c:v>0.03612754162937</c:v>
                </c:pt>
                <c:pt idx="2">
                  <c:v>0.13719498356475082</c:v>
                </c:pt>
                <c:pt idx="3">
                  <c:v>0.2655543928097179</c:v>
                </c:pt>
                <c:pt idx="4">
                  <c:v>0.4037194501949932</c:v>
                </c:pt>
                <c:pt idx="5">
                  <c:v>0.14488401371549256</c:v>
                </c:pt>
                <c:pt idx="6">
                  <c:v>0.00522102988551093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8</c:v>
                </c:pt>
                <c:pt idx="2">
                  <c:v>0.11804545324376452</c:v>
                </c:pt>
                <c:pt idx="3">
                  <c:v>0.25149827422127424</c:v>
                </c:pt>
                <c:pt idx="4">
                  <c:v>0.4056119547908504</c:v>
                </c:pt>
                <c:pt idx="5">
                  <c:v>0.18182419182032922</c:v>
                </c:pt>
                <c:pt idx="6">
                  <c:v>0.00057910659475856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970517890606894</c:v>
                </c:pt>
                <c:pt idx="3">
                  <c:v>0.004486298563677639</c:v>
                </c:pt>
                <c:pt idx="4">
                  <c:v>0.01176903469646207</c:v>
                </c:pt>
                <c:pt idx="5">
                  <c:v>0.00668977071570784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954522696762</c:v>
                </c:pt>
                <c:pt idx="4">
                  <c:v>0.031881979303787146</c:v>
                </c:pt>
                <c:pt idx="5">
                  <c:v>0.45252068038741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5710781901685</c:v>
                </c:pt>
                <c:pt idx="1">
                  <c:v>0.038204793375372754</c:v>
                </c:pt>
                <c:pt idx="2">
                  <c:v>0.12798552630995078</c:v>
                </c:pt>
                <c:pt idx="3">
                  <c:v>0.2579764267007196</c:v>
                </c:pt>
                <c:pt idx="4">
                  <c:v>0.4116002556395987</c:v>
                </c:pt>
                <c:pt idx="5">
                  <c:v>0.15861101936594071</c:v>
                </c:pt>
                <c:pt idx="6">
                  <c:v>0.00076626782651583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36645505799227</c:v>
                </c:pt>
                <c:pt idx="2">
                  <c:v>0.006725257236051022</c:v>
                </c:pt>
                <c:pt idx="3">
                  <c:v>0.004236886222651477</c:v>
                </c:pt>
                <c:pt idx="4">
                  <c:v>0.00825382895712437</c:v>
                </c:pt>
                <c:pt idx="5">
                  <c:v>0.00164396723591069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690087183809</c:v>
                </c:pt>
                <c:pt idx="4">
                  <c:v>0.025018851678911807</c:v>
                </c:pt>
                <c:pt idx="5">
                  <c:v>0.47510511822666945</c:v>
                </c:pt>
                <c:pt idx="6">
                  <c:v>0.0021541255067601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57735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12872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248937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06183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330842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865869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404930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152973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90628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4269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99072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23543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13170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15731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703114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354795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343338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56840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098653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38166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080196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52397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32651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56472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978450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786373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200642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48891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106885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004122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91687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3086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2006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2432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0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35993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